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sldIdLst>
    <p:sldId id="271" r:id="rId5"/>
    <p:sldId id="272" r:id="rId6"/>
    <p:sldId id="273" r:id="rId7"/>
    <p:sldId id="274" r:id="rId8"/>
    <p:sldId id="275" r:id="rId9"/>
  </p:sldIdLst>
  <p:sldSz cx="12192000" cy="6858000"/>
  <p:notesSz cx="6858000" cy="9144000"/>
  <p:custDataLst>
    <p:tags r:id="rId11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3B4E"/>
    <a:srgbClr val="9D7366"/>
    <a:srgbClr val="57A434"/>
    <a:srgbClr val="A6A81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05" d="100"/>
          <a:sy n="105" d="100"/>
        </p:scale>
        <p:origin x="138" y="51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9AAAB7-0E1D-45DB-99FD-49F50F76F7BD}" type="datetimeFigureOut">
              <a:rPr lang="da-DK" smtClean="0"/>
              <a:t>14-06-2024</a:t>
            </a:fld>
            <a:endParaRPr lang="da-DK"/>
          </a:p>
        </p:txBody>
      </p:sp>
      <p:sp>
        <p:nvSpPr>
          <p:cNvPr id="4" name="Pladsholder til dias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i master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dias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01313B-6D4E-4581-90F2-F4FB7847A8E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907790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901313B-6D4E-4581-90F2-F4FB7847A8EB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7109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18" Type="http://schemas.openxmlformats.org/officeDocument/2006/relationships/image" Target="../media/image1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12" Type="http://schemas.openxmlformats.org/officeDocument/2006/relationships/image" Target="../media/image9.jpeg"/><Relationship Id="rId1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3.png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openxmlformats.org/officeDocument/2006/relationships/image" Target="../media/image2.png"/><Relationship Id="rId15" Type="http://schemas.openxmlformats.org/officeDocument/2006/relationships/image" Target="../media/image12.png"/><Relationship Id="rId10" Type="http://schemas.openxmlformats.org/officeDocument/2006/relationships/image" Target="../media/image7.png"/><Relationship Id="rId19" Type="http://schemas.openxmlformats.org/officeDocument/2006/relationships/image" Target="../media/image16.jpeg"/><Relationship Id="rId4" Type="http://schemas.openxmlformats.org/officeDocument/2006/relationships/image" Target="../media/image1.emf"/><Relationship Id="rId9" Type="http://schemas.openxmlformats.org/officeDocument/2006/relationships/image" Target="../media/image6.jpeg"/><Relationship Id="rId14" Type="http://schemas.openxmlformats.org/officeDocument/2006/relationships/image" Target="../media/image11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18" Type="http://schemas.openxmlformats.org/officeDocument/2006/relationships/image" Target="../media/image15.png"/><Relationship Id="rId3" Type="http://schemas.openxmlformats.org/officeDocument/2006/relationships/oleObject" Target="../embeddings/oleObject6.bin"/><Relationship Id="rId7" Type="http://schemas.openxmlformats.org/officeDocument/2006/relationships/image" Target="../media/image2.png"/><Relationship Id="rId12" Type="http://schemas.openxmlformats.org/officeDocument/2006/relationships/image" Target="../media/image9.jpeg"/><Relationship Id="rId17" Type="http://schemas.openxmlformats.org/officeDocument/2006/relationships/image" Target="../media/image14.png"/><Relationship Id="rId2" Type="http://schemas.openxmlformats.org/officeDocument/2006/relationships/slideMaster" Target="../slideMasters/slideMaster1.xml"/><Relationship Id="rId16" Type="http://schemas.openxmlformats.org/officeDocument/2006/relationships/image" Target="../media/image13.png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11" Type="http://schemas.openxmlformats.org/officeDocument/2006/relationships/image" Target="../media/image8.jpeg"/><Relationship Id="rId5" Type="http://schemas.openxmlformats.org/officeDocument/2006/relationships/image" Target="../media/image3.png"/><Relationship Id="rId15" Type="http://schemas.openxmlformats.org/officeDocument/2006/relationships/image" Target="../media/image12.png"/><Relationship Id="rId10" Type="http://schemas.openxmlformats.org/officeDocument/2006/relationships/image" Target="../media/image7.png"/><Relationship Id="rId19" Type="http://schemas.openxmlformats.org/officeDocument/2006/relationships/image" Target="../media/image16.jpeg"/><Relationship Id="rId4" Type="http://schemas.openxmlformats.org/officeDocument/2006/relationships/image" Target="../media/image1.emf"/><Relationship Id="rId9" Type="http://schemas.openxmlformats.org/officeDocument/2006/relationships/image" Target="../media/image6.jpeg"/><Relationship Id="rId14" Type="http://schemas.openxmlformats.org/officeDocument/2006/relationships/image" Target="../media/image11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40228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35456" y="2666278"/>
            <a:ext cx="6015235" cy="1362075"/>
          </a:xfrm>
        </p:spPr>
        <p:txBody>
          <a:bodyPr vert="horz" anchor="t">
            <a:normAutofit/>
          </a:bodyPr>
          <a:lstStyle>
            <a:lvl1pPr algn="ctr">
              <a:defRPr sz="3200" b="1" cap="all" baseline="0"/>
            </a:lvl1pPr>
          </a:lstStyle>
          <a:p>
            <a:r>
              <a:rPr lang="en-US" dirty="0"/>
              <a:t>Presentation title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35457" y="4034012"/>
            <a:ext cx="6015233" cy="619124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Author nam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C8990-AC53-4959-B57E-28DC14E01F09}" type="slidenum">
              <a:rPr lang="da-DK" smtClean="0"/>
              <a:t>‹nr.›</a:t>
            </a:fld>
            <a:endParaRPr lang="da-DK"/>
          </a:p>
        </p:txBody>
      </p:sp>
      <p:pic>
        <p:nvPicPr>
          <p:cNvPr id="13" name="Picture 8" descr="kamstrup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790" y="2746103"/>
            <a:ext cx="1250671" cy="3715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20" name="Picture 2" descr="AAU_LOGO_RGB_UK_crop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06" y="274639"/>
            <a:ext cx="1214653" cy="810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21" name="Picture 2" descr="ECD_logo01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360267"/>
            <a:ext cx="1512168" cy="319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24" name="Titel 1"/>
          <p:cNvSpPr txBox="1">
            <a:spLocks/>
          </p:cNvSpPr>
          <p:nvPr userDrawn="1"/>
        </p:nvSpPr>
        <p:spPr>
          <a:xfrm>
            <a:off x="1981200" y="274639"/>
            <a:ext cx="8229600" cy="4905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0</a:t>
            </a:r>
            <a:r>
              <a:rPr lang="en-GB" sz="12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th</a:t>
            </a: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 International Conference on Smart Energy Systems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0-11 September 2024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</a:rPr>
              <a:t>#SESAAU2024</a:t>
            </a:r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  <a:latin typeface="Museo Sans 500" panose="02000000000000000000" pitchFamily="50" charset="0"/>
              <a:cs typeface="Arial" pitchFamily="34" charset="0"/>
            </a:endParaRPr>
          </a:p>
        </p:txBody>
      </p:sp>
      <p:sp>
        <p:nvSpPr>
          <p:cNvPr id="31" name="Rectangle 30"/>
          <p:cNvSpPr/>
          <p:nvPr userDrawn="1"/>
        </p:nvSpPr>
        <p:spPr>
          <a:xfrm>
            <a:off x="4727848" y="2666278"/>
            <a:ext cx="306597" cy="1986858"/>
          </a:xfrm>
          <a:prstGeom prst="rect">
            <a:avLst/>
          </a:prstGeom>
          <a:solidFill>
            <a:srgbClr val="57A4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Rectangle 32"/>
          <p:cNvSpPr/>
          <p:nvPr userDrawn="1"/>
        </p:nvSpPr>
        <p:spPr>
          <a:xfrm rot="5400000">
            <a:off x="6311839" y="3069145"/>
            <a:ext cx="144017" cy="3312000"/>
          </a:xfrm>
          <a:prstGeom prst="rect">
            <a:avLst/>
          </a:prstGeom>
          <a:solidFill>
            <a:srgbClr val="9D7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" name="Rectangle 33"/>
          <p:cNvSpPr/>
          <p:nvPr userDrawn="1"/>
        </p:nvSpPr>
        <p:spPr>
          <a:xfrm rot="5400000">
            <a:off x="9629681" y="3069146"/>
            <a:ext cx="144017" cy="3312000"/>
          </a:xfrm>
          <a:prstGeom prst="rect">
            <a:avLst/>
          </a:prstGeom>
          <a:solidFill>
            <a:srgbClr val="A6A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/>
          <p:cNvSpPr/>
          <p:nvPr userDrawn="1"/>
        </p:nvSpPr>
        <p:spPr>
          <a:xfrm>
            <a:off x="5028861" y="2666278"/>
            <a:ext cx="306597" cy="1986858"/>
          </a:xfrm>
          <a:prstGeom prst="rect">
            <a:avLst/>
          </a:prstGeom>
          <a:solidFill>
            <a:srgbClr val="263B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51" name="Rectangle 2050"/>
          <p:cNvSpPr/>
          <p:nvPr userDrawn="1"/>
        </p:nvSpPr>
        <p:spPr>
          <a:xfrm>
            <a:off x="1086575" y="1448151"/>
            <a:ext cx="116204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latin typeface="Museo Sans 500" panose="02000000000000000000" pitchFamily="50" charset="0"/>
              </a:rPr>
              <a:t>Sponsored by</a:t>
            </a:r>
            <a:endParaRPr lang="en-GB" sz="1200" dirty="0">
              <a:latin typeface="Museo Sans 500" panose="02000000000000000000" pitchFamily="50" charset="0"/>
              <a:cs typeface="Arial" pitchFamily="34" charset="0"/>
            </a:endParaRPr>
          </a:p>
        </p:txBody>
      </p:sp>
      <p:pic>
        <p:nvPicPr>
          <p:cNvPr id="27" name="Billede 26">
            <a:extLst>
              <a:ext uri="{FF2B5EF4-FFF2-40B4-BE49-F238E27FC236}">
                <a16:creationId xmlns:a16="http://schemas.microsoft.com/office/drawing/2014/main" id="{85B62AD9-F2AA-4295-BD70-D20E8CD3C1D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200" y="2544729"/>
            <a:ext cx="1062669" cy="582189"/>
          </a:xfrm>
          <a:prstGeom prst="rect">
            <a:avLst/>
          </a:prstGeom>
        </p:spPr>
      </p:pic>
      <p:pic>
        <p:nvPicPr>
          <p:cNvPr id="29" name="Billede 28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3E3199AF-3FB1-4A7B-8661-E91B8A56D107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7978" y="5607948"/>
            <a:ext cx="855528" cy="234158"/>
          </a:xfrm>
          <a:prstGeom prst="rect">
            <a:avLst/>
          </a:prstGeom>
        </p:spPr>
      </p:pic>
      <p:pic>
        <p:nvPicPr>
          <p:cNvPr id="14" name="Billede 13" descr="Et billede, der indeholder Grafik, Font/skrifttype, logo, grafisk design&#10;&#10;Automatisk genereret beskrivelse">
            <a:extLst>
              <a:ext uri="{FF2B5EF4-FFF2-40B4-BE49-F238E27FC236}">
                <a16:creationId xmlns:a16="http://schemas.microsoft.com/office/drawing/2014/main" id="{3ACE77B6-62EF-71EE-B49F-8365C46B3862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072" y="1916137"/>
            <a:ext cx="1305391" cy="504751"/>
          </a:xfrm>
          <a:prstGeom prst="rect">
            <a:avLst/>
          </a:prstGeom>
        </p:spPr>
      </p:pic>
      <p:pic>
        <p:nvPicPr>
          <p:cNvPr id="18" name="Billede 17" descr="Et billede, der indeholder tekst, Font/skrifttype, Grafik, logo&#10;&#10;Automatisk genereret beskrivelse">
            <a:extLst>
              <a:ext uri="{FF2B5EF4-FFF2-40B4-BE49-F238E27FC236}">
                <a16:creationId xmlns:a16="http://schemas.microsoft.com/office/drawing/2014/main" id="{64FFDB0A-8020-0D8C-69F2-EF31F9CAA995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3903" y="1996971"/>
            <a:ext cx="1421880" cy="381786"/>
          </a:xfrm>
          <a:prstGeom prst="rect">
            <a:avLst/>
          </a:prstGeom>
        </p:spPr>
      </p:pic>
      <p:pic>
        <p:nvPicPr>
          <p:cNvPr id="26" name="Billede 25" descr="Et billede, der indeholder Font/skrifttype, tekst, logo, Grafik&#10;&#10;Automatisk genereret beskrivelse">
            <a:extLst>
              <a:ext uri="{FF2B5EF4-FFF2-40B4-BE49-F238E27FC236}">
                <a16:creationId xmlns:a16="http://schemas.microsoft.com/office/drawing/2014/main" id="{ACBCFB27-8746-815D-A171-FD1C096BCD5E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032" y="3102152"/>
            <a:ext cx="1341473" cy="947952"/>
          </a:xfrm>
          <a:prstGeom prst="rect">
            <a:avLst/>
          </a:prstGeom>
        </p:spPr>
      </p:pic>
      <p:pic>
        <p:nvPicPr>
          <p:cNvPr id="30" name="Billede 29" descr="Et billede, der indeholder Font/skrifttype, Grafik, grafisk design, logo&#10;&#10;Automatisk genereret beskrivelse">
            <a:extLst>
              <a:ext uri="{FF2B5EF4-FFF2-40B4-BE49-F238E27FC236}">
                <a16:creationId xmlns:a16="http://schemas.microsoft.com/office/drawing/2014/main" id="{42F2F70B-1BC8-5637-81BB-5CC249326F09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5877" y="3376280"/>
            <a:ext cx="808980" cy="292418"/>
          </a:xfrm>
          <a:prstGeom prst="rect">
            <a:avLst/>
          </a:prstGeom>
        </p:spPr>
      </p:pic>
      <p:pic>
        <p:nvPicPr>
          <p:cNvPr id="36" name="Billede 35" descr="Et billede, der indeholder tekst, Font/skrifttype, logo, Grafik&#10;&#10;Automatisk genereret beskrivelse">
            <a:extLst>
              <a:ext uri="{FF2B5EF4-FFF2-40B4-BE49-F238E27FC236}">
                <a16:creationId xmlns:a16="http://schemas.microsoft.com/office/drawing/2014/main" id="{D06B7991-9533-9BA7-7EB7-180A26CE2E82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558" y="4109360"/>
            <a:ext cx="1031436" cy="450658"/>
          </a:xfrm>
          <a:prstGeom prst="rect">
            <a:avLst/>
          </a:prstGeom>
        </p:spPr>
      </p:pic>
      <p:pic>
        <p:nvPicPr>
          <p:cNvPr id="38" name="Billede 37" descr="Et billede, der indeholder Grafik, tekst, Font/skrifttype, grafisk design&#10;&#10;Automatisk genereret beskrivelse">
            <a:extLst>
              <a:ext uri="{FF2B5EF4-FFF2-40B4-BE49-F238E27FC236}">
                <a16:creationId xmlns:a16="http://schemas.microsoft.com/office/drawing/2014/main" id="{0D0F122B-E644-1442-C624-3433B618D579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704" y="3542252"/>
            <a:ext cx="1476281" cy="1476281"/>
          </a:xfrm>
          <a:prstGeom prst="rect">
            <a:avLst/>
          </a:prstGeom>
        </p:spPr>
      </p:pic>
      <p:pic>
        <p:nvPicPr>
          <p:cNvPr id="40" name="Billede 39" descr="Et billede, der indeholder Grafik, grafisk design, skærmbillede, Farverigt&#10;&#10;Automatisk genereret beskrivelse">
            <a:extLst>
              <a:ext uri="{FF2B5EF4-FFF2-40B4-BE49-F238E27FC236}">
                <a16:creationId xmlns:a16="http://schemas.microsoft.com/office/drawing/2014/main" id="{CFE32871-0D04-088A-A661-F8A36281E224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812" y="4947617"/>
            <a:ext cx="1260927" cy="345554"/>
          </a:xfrm>
          <a:prstGeom prst="rect">
            <a:avLst/>
          </a:prstGeom>
        </p:spPr>
      </p:pic>
      <p:pic>
        <p:nvPicPr>
          <p:cNvPr id="42" name="Billede 41" descr="Et billede, der indeholder tekst, Font/skrifttype, Grafik, grafisk design&#10;&#10;Automatisk genereret beskrivelse">
            <a:extLst>
              <a:ext uri="{FF2B5EF4-FFF2-40B4-BE49-F238E27FC236}">
                <a16:creationId xmlns:a16="http://schemas.microsoft.com/office/drawing/2014/main" id="{3D5C96B1-26D1-0588-4101-B14565EB0D16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3068" y="4821015"/>
            <a:ext cx="774596" cy="515112"/>
          </a:xfrm>
          <a:prstGeom prst="rect">
            <a:avLst/>
          </a:prstGeom>
        </p:spPr>
      </p:pic>
      <p:pic>
        <p:nvPicPr>
          <p:cNvPr id="44" name="Billede 43" descr="Et billede, der indeholder skærmbillede, Font/skrifttype, Grafik, grafisk design&#10;&#10;Automatisk genereret beskrivelse">
            <a:extLst>
              <a:ext uri="{FF2B5EF4-FFF2-40B4-BE49-F238E27FC236}">
                <a16:creationId xmlns:a16="http://schemas.microsoft.com/office/drawing/2014/main" id="{07DC3A3C-5D3B-2379-827F-CBBDEDA5D28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24" y="5629093"/>
            <a:ext cx="1202486" cy="256268"/>
          </a:xfrm>
          <a:prstGeom prst="rect">
            <a:avLst/>
          </a:prstGeom>
        </p:spPr>
      </p:pic>
      <p:pic>
        <p:nvPicPr>
          <p:cNvPr id="46" name="Billede 45" descr="Et billede, der indeholder tekst, Font/skrifttype, logo, Grafik&#10;&#10;Automatisk genereret beskrivelse">
            <a:extLst>
              <a:ext uri="{FF2B5EF4-FFF2-40B4-BE49-F238E27FC236}">
                <a16:creationId xmlns:a16="http://schemas.microsoft.com/office/drawing/2014/main" id="{F56EC640-C140-3DAC-33E4-59ED33A4DC01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296" y="6113928"/>
            <a:ext cx="1866394" cy="365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03921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724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392" y="1195437"/>
            <a:ext cx="10972800" cy="114300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2492896"/>
            <a:ext cx="10972800" cy="363326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688918-E8D8-460C-AC3E-1AF5A66BC5F6}" type="datetime1">
              <a:rPr lang="da-DK" smtClean="0"/>
              <a:t>14-06-2024</a:t>
            </a:fld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C8990-AC53-4959-B57E-28DC14E01F09}" type="slidenum">
              <a:rPr lang="da-DK" smtClean="0"/>
              <a:t>‹nr.›</a:t>
            </a:fld>
            <a:endParaRPr lang="da-DK"/>
          </a:p>
        </p:txBody>
      </p:sp>
      <p:pic>
        <p:nvPicPr>
          <p:cNvPr id="7" name="Picture 2" descr="AAU_LOGO_RGB_UK_crop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06" y="274639"/>
            <a:ext cx="1214653" cy="810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8" name="Picture 2" descr="ECD_logo01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360267"/>
            <a:ext cx="1512168" cy="319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9" name="Titel 1"/>
          <p:cNvSpPr txBox="1">
            <a:spLocks/>
          </p:cNvSpPr>
          <p:nvPr userDrawn="1"/>
        </p:nvSpPr>
        <p:spPr>
          <a:xfrm>
            <a:off x="1981200" y="274639"/>
            <a:ext cx="8229600" cy="4905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0</a:t>
            </a:r>
            <a:r>
              <a:rPr lang="en-GB" sz="12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th</a:t>
            </a: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 International Conference on Smart Energy Systems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0-11 September 2024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</a:rPr>
              <a:t>#SESAAU2024</a:t>
            </a:r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  <a:latin typeface="Museo Sans 500" panose="02000000000000000000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92641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05208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4664" y="860189"/>
            <a:ext cx="10972800" cy="114300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2056457"/>
            <a:ext cx="5386917" cy="6180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708919"/>
            <a:ext cx="5386917" cy="341724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2056457"/>
            <a:ext cx="5389033" cy="61808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708919"/>
            <a:ext cx="5389033" cy="341724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F1A996-EE95-4FCB-9BA1-C87B9814B494}" type="datetime1">
              <a:rPr lang="da-DK" smtClean="0"/>
              <a:t>14-06-2024</a:t>
            </a:fld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C8990-AC53-4959-B57E-28DC14E01F09}" type="slidenum">
              <a:rPr lang="da-DK" smtClean="0"/>
              <a:t>‹nr.›</a:t>
            </a:fld>
            <a:endParaRPr lang="da-DK"/>
          </a:p>
        </p:txBody>
      </p:sp>
      <p:pic>
        <p:nvPicPr>
          <p:cNvPr id="11" name="Picture 2" descr="AAU_LOGO_RGB_UK_crop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06" y="274639"/>
            <a:ext cx="1214653" cy="810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12" name="Picture 2" descr="ECD_logo01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360267"/>
            <a:ext cx="1512168" cy="319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13" name="Titel 1"/>
          <p:cNvSpPr txBox="1">
            <a:spLocks/>
          </p:cNvSpPr>
          <p:nvPr userDrawn="1"/>
        </p:nvSpPr>
        <p:spPr>
          <a:xfrm>
            <a:off x="1981200" y="274639"/>
            <a:ext cx="8229600" cy="4905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0</a:t>
            </a:r>
            <a:r>
              <a:rPr lang="en-GB" sz="12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th</a:t>
            </a: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 International Conference on Smart Energy Systems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0-11 September 2024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</a:rPr>
              <a:t>#SESAAU2024</a:t>
            </a:r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  <a:latin typeface="Museo Sans 500" panose="02000000000000000000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74214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88368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1196752"/>
            <a:ext cx="10972800" cy="1143000"/>
          </a:xfrm>
        </p:spPr>
        <p:txBody>
          <a:bodyPr vert="horz"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E56C59-53C3-48A3-9B4F-7840E4B5B4DF}" type="datetime1">
              <a:rPr lang="da-DK" smtClean="0"/>
              <a:t>14-06-2024</a:t>
            </a:fld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C8990-AC53-4959-B57E-28DC14E01F09}" type="slidenum">
              <a:rPr lang="da-DK" smtClean="0"/>
              <a:t>‹nr.›</a:t>
            </a:fld>
            <a:endParaRPr lang="da-DK"/>
          </a:p>
        </p:txBody>
      </p:sp>
      <p:pic>
        <p:nvPicPr>
          <p:cNvPr id="9" name="Picture 2" descr="AAU_LOGO_RGB_UK_crop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06" y="274639"/>
            <a:ext cx="1214653" cy="810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10" name="Picture 2" descr="ECD_logo01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360267"/>
            <a:ext cx="1512168" cy="319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11" name="Titel 1"/>
          <p:cNvSpPr txBox="1">
            <a:spLocks/>
          </p:cNvSpPr>
          <p:nvPr userDrawn="1"/>
        </p:nvSpPr>
        <p:spPr>
          <a:xfrm>
            <a:off x="1981200" y="274639"/>
            <a:ext cx="8229600" cy="4905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0</a:t>
            </a:r>
            <a:r>
              <a:rPr lang="en-GB" sz="12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th</a:t>
            </a: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 International Conference on Smart Energy Systems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0-11 September 2024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</a:rPr>
              <a:t>#SESAAU2024</a:t>
            </a:r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  <a:latin typeface="Museo Sans 500" panose="02000000000000000000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651464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F48F9-2917-4C88-ABE7-249D08D435AD}" type="datetime1">
              <a:rPr lang="da-DK" smtClean="0"/>
              <a:t>14-06-2024</a:t>
            </a:fld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C8990-AC53-4959-B57E-28DC14E01F09}" type="slidenum">
              <a:rPr lang="da-DK" smtClean="0"/>
              <a:t>‹nr.›</a:t>
            </a:fld>
            <a:endParaRPr lang="da-DK"/>
          </a:p>
        </p:txBody>
      </p:sp>
      <p:pic>
        <p:nvPicPr>
          <p:cNvPr id="6" name="Picture 2" descr="AAU_LOGO_RGB_UK_crop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06" y="274639"/>
            <a:ext cx="1214653" cy="810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7" name="Picture 2" descr="ECD_logo01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360267"/>
            <a:ext cx="1512168" cy="319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8" name="Titel 1"/>
          <p:cNvSpPr txBox="1">
            <a:spLocks/>
          </p:cNvSpPr>
          <p:nvPr userDrawn="1"/>
        </p:nvSpPr>
        <p:spPr>
          <a:xfrm>
            <a:off x="1981200" y="274639"/>
            <a:ext cx="8229600" cy="4905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0</a:t>
            </a:r>
            <a:r>
              <a:rPr lang="en-GB" sz="12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th</a:t>
            </a: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 International Conference on Smart Energy Systems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0-11 September 2024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</a:rPr>
              <a:t>#SESAAU2024</a:t>
            </a:r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  <a:latin typeface="Museo Sans 500" panose="02000000000000000000" pitchFamily="50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60407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382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23" name="Object 2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335457" y="2666278"/>
            <a:ext cx="6015234" cy="1362075"/>
          </a:xfrm>
        </p:spPr>
        <p:txBody>
          <a:bodyPr vert="horz" anchor="t"/>
          <a:lstStyle>
            <a:lvl1pPr algn="ctr">
              <a:defRPr sz="4000" b="1" cap="all" baseline="0"/>
            </a:lvl1pPr>
          </a:lstStyle>
          <a:p>
            <a:r>
              <a:rPr lang="en-US" dirty="0"/>
              <a:t>Thank you for </a:t>
            </a:r>
            <a:r>
              <a:rPr lang="en-US" dirty="0" err="1"/>
              <a:t>youR</a:t>
            </a:r>
            <a:r>
              <a:rPr lang="en-US" dirty="0"/>
              <a:t> attention</a:t>
            </a:r>
            <a:endParaRPr lang="da-DK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335457" y="4034012"/>
            <a:ext cx="6015233" cy="619124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Author nam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AC8990-AC53-4959-B57E-28DC14E01F09}" type="slidenum">
              <a:rPr lang="da-DK" smtClean="0"/>
              <a:t>‹nr.›</a:t>
            </a:fld>
            <a:endParaRPr lang="da-DK"/>
          </a:p>
        </p:txBody>
      </p:sp>
      <p:pic>
        <p:nvPicPr>
          <p:cNvPr id="20" name="Picture 2" descr="AAU_LOGO_RGB_UK_crop"/>
          <p:cNvPicPr>
            <a:picLocks noChangeAspect="1" noChangeArrowheads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9406" y="274639"/>
            <a:ext cx="1214653" cy="8103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pic>
        <p:nvPicPr>
          <p:cNvPr id="21" name="Picture 2" descr="ECD_logo01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0800" y="360267"/>
            <a:ext cx="1512168" cy="3195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24" name="Titel 1"/>
          <p:cNvSpPr txBox="1">
            <a:spLocks/>
          </p:cNvSpPr>
          <p:nvPr userDrawn="1"/>
        </p:nvSpPr>
        <p:spPr>
          <a:xfrm>
            <a:off x="1981200" y="274639"/>
            <a:ext cx="8229600" cy="49053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1200" baseline="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0</a:t>
            </a:r>
            <a:r>
              <a:rPr lang="en-GB" sz="1200" baseline="300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th</a:t>
            </a: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 International Conference on Smart Energy Systems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  <a:t>10-11 September 2024</a:t>
            </a:r>
            <a:br>
              <a:rPr lang="en-GB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  <a:cs typeface="Arial" pitchFamily="34" charset="0"/>
              </a:rPr>
            </a:b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Museo Sans 500" panose="02000000000000000000" pitchFamily="50" charset="0"/>
              </a:rPr>
              <a:t>#SESAAU2024</a:t>
            </a:r>
            <a:endParaRPr lang="en-GB" sz="1200" dirty="0">
              <a:solidFill>
                <a:schemeClr val="tx1">
                  <a:lumMod val="65000"/>
                  <a:lumOff val="35000"/>
                </a:schemeClr>
              </a:solidFill>
              <a:latin typeface="Museo Sans 500" panose="02000000000000000000" pitchFamily="50" charset="0"/>
              <a:cs typeface="Arial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>
          <a:xfrm>
            <a:off x="4727848" y="2666278"/>
            <a:ext cx="306597" cy="1986858"/>
          </a:xfrm>
          <a:prstGeom prst="rect">
            <a:avLst/>
          </a:prstGeom>
          <a:solidFill>
            <a:srgbClr val="57A4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 userDrawn="1"/>
        </p:nvSpPr>
        <p:spPr>
          <a:xfrm rot="5400000">
            <a:off x="6311839" y="3069145"/>
            <a:ext cx="144017" cy="3312000"/>
          </a:xfrm>
          <a:prstGeom prst="rect">
            <a:avLst/>
          </a:prstGeom>
          <a:solidFill>
            <a:srgbClr val="9D73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 userDrawn="1"/>
        </p:nvSpPr>
        <p:spPr>
          <a:xfrm rot="5400000">
            <a:off x="9629681" y="3069146"/>
            <a:ext cx="144017" cy="3312000"/>
          </a:xfrm>
          <a:prstGeom prst="rect">
            <a:avLst/>
          </a:prstGeom>
          <a:solidFill>
            <a:srgbClr val="A6A81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 userDrawn="1"/>
        </p:nvSpPr>
        <p:spPr>
          <a:xfrm>
            <a:off x="5028861" y="2666278"/>
            <a:ext cx="306597" cy="1986858"/>
          </a:xfrm>
          <a:prstGeom prst="rect">
            <a:avLst/>
          </a:prstGeom>
          <a:solidFill>
            <a:srgbClr val="263B4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8" descr="kamstrup">
            <a:extLst>
              <a:ext uri="{FF2B5EF4-FFF2-40B4-BE49-F238E27FC236}">
                <a16:creationId xmlns:a16="http://schemas.microsoft.com/office/drawing/2014/main" id="{07AD1102-1FE6-2957-BA21-DFE1D1B27E0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790" y="2746103"/>
            <a:ext cx="1250671" cy="3715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CCCCCC"/>
                  </a:outerShdw>
                </a:effectLst>
              </a14:hiddenEffects>
            </a:ext>
          </a:extLst>
        </p:spPr>
      </p:pic>
      <p:sp>
        <p:nvSpPr>
          <p:cNvPr id="7" name="Rectangle 2050">
            <a:extLst>
              <a:ext uri="{FF2B5EF4-FFF2-40B4-BE49-F238E27FC236}">
                <a16:creationId xmlns:a16="http://schemas.microsoft.com/office/drawing/2014/main" id="{0A0604B7-1400-ED9E-FEE3-6B5657DF00C8}"/>
              </a:ext>
            </a:extLst>
          </p:cNvPr>
          <p:cNvSpPr/>
          <p:nvPr userDrawn="1"/>
        </p:nvSpPr>
        <p:spPr>
          <a:xfrm>
            <a:off x="1086575" y="1448151"/>
            <a:ext cx="1162049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latin typeface="Museo Sans 500" panose="02000000000000000000" pitchFamily="50" charset="0"/>
              </a:rPr>
              <a:t>Sponsored by</a:t>
            </a:r>
            <a:endParaRPr lang="en-GB" sz="1200" dirty="0">
              <a:latin typeface="Museo Sans 500" panose="02000000000000000000" pitchFamily="50" charset="0"/>
              <a:cs typeface="Arial" pitchFamily="34" charset="0"/>
            </a:endParaRP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698340C9-B004-302B-1FBF-AC9D1DA73496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1200" y="2544729"/>
            <a:ext cx="1062669" cy="582189"/>
          </a:xfrm>
          <a:prstGeom prst="rect">
            <a:avLst/>
          </a:prstGeom>
        </p:spPr>
      </p:pic>
      <p:pic>
        <p:nvPicPr>
          <p:cNvPr id="9" name="Billede 8" descr="Et billede, der indeholder tekst, clipart&#10;&#10;Automatisk genereret beskrivelse">
            <a:extLst>
              <a:ext uri="{FF2B5EF4-FFF2-40B4-BE49-F238E27FC236}">
                <a16:creationId xmlns:a16="http://schemas.microsoft.com/office/drawing/2014/main" id="{71F3DCB2-E773-1914-4900-2C2DFC5DC82D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7978" y="5607948"/>
            <a:ext cx="855528" cy="234158"/>
          </a:xfrm>
          <a:prstGeom prst="rect">
            <a:avLst/>
          </a:prstGeom>
        </p:spPr>
      </p:pic>
      <p:pic>
        <p:nvPicPr>
          <p:cNvPr id="10" name="Billede 9" descr="Et billede, der indeholder Grafik, Font/skrifttype, logo, grafisk design&#10;&#10;Automatisk genereret beskrivelse">
            <a:extLst>
              <a:ext uri="{FF2B5EF4-FFF2-40B4-BE49-F238E27FC236}">
                <a16:creationId xmlns:a16="http://schemas.microsoft.com/office/drawing/2014/main" id="{7636D6DB-3305-A478-12BC-1122A8D08C97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072" y="1967728"/>
            <a:ext cx="1305391" cy="504751"/>
          </a:xfrm>
          <a:prstGeom prst="rect">
            <a:avLst/>
          </a:prstGeom>
        </p:spPr>
      </p:pic>
      <p:pic>
        <p:nvPicPr>
          <p:cNvPr id="11" name="Billede 10" descr="Et billede, der indeholder tekst, Font/skrifttype, Grafik, logo&#10;&#10;Automatisk genereret beskrivelse">
            <a:extLst>
              <a:ext uri="{FF2B5EF4-FFF2-40B4-BE49-F238E27FC236}">
                <a16:creationId xmlns:a16="http://schemas.microsoft.com/office/drawing/2014/main" id="{522B6969-EEC8-F175-D0BE-43FC05635B15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3903" y="1996971"/>
            <a:ext cx="1421880" cy="381786"/>
          </a:xfrm>
          <a:prstGeom prst="rect">
            <a:avLst/>
          </a:prstGeom>
        </p:spPr>
      </p:pic>
      <p:pic>
        <p:nvPicPr>
          <p:cNvPr id="12" name="Billede 11" descr="Et billede, der indeholder Font/skrifttype, tekst, logo, Grafik&#10;&#10;Automatisk genereret beskrivelse">
            <a:extLst>
              <a:ext uri="{FF2B5EF4-FFF2-40B4-BE49-F238E27FC236}">
                <a16:creationId xmlns:a16="http://schemas.microsoft.com/office/drawing/2014/main" id="{A62AA38C-44BC-1290-8379-E2FA7DF9E9E9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3032" y="3102152"/>
            <a:ext cx="1341473" cy="947952"/>
          </a:xfrm>
          <a:prstGeom prst="rect">
            <a:avLst/>
          </a:prstGeom>
        </p:spPr>
      </p:pic>
      <p:pic>
        <p:nvPicPr>
          <p:cNvPr id="13" name="Billede 12" descr="Et billede, der indeholder Font/skrifttype, Grafik, grafisk design, logo&#10;&#10;Automatisk genereret beskrivelse">
            <a:extLst>
              <a:ext uri="{FF2B5EF4-FFF2-40B4-BE49-F238E27FC236}">
                <a16:creationId xmlns:a16="http://schemas.microsoft.com/office/drawing/2014/main" id="{2A5B5894-BF64-477A-75FF-8C2EB301F202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5877" y="3376280"/>
            <a:ext cx="808980" cy="292418"/>
          </a:xfrm>
          <a:prstGeom prst="rect">
            <a:avLst/>
          </a:prstGeom>
        </p:spPr>
      </p:pic>
      <p:pic>
        <p:nvPicPr>
          <p:cNvPr id="14" name="Billede 13" descr="Et billede, der indeholder tekst, Font/skrifttype, logo, Grafik&#10;&#10;Automatisk genereret beskrivelse">
            <a:extLst>
              <a:ext uri="{FF2B5EF4-FFF2-40B4-BE49-F238E27FC236}">
                <a16:creationId xmlns:a16="http://schemas.microsoft.com/office/drawing/2014/main" id="{C1FE8C55-D4FC-C2FA-017F-42C8AE9F457B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558" y="4109360"/>
            <a:ext cx="1031436" cy="450658"/>
          </a:xfrm>
          <a:prstGeom prst="rect">
            <a:avLst/>
          </a:prstGeom>
        </p:spPr>
      </p:pic>
      <p:pic>
        <p:nvPicPr>
          <p:cNvPr id="15" name="Billede 14" descr="Et billede, der indeholder Grafik, tekst, Font/skrifttype, grafisk design&#10;&#10;Automatisk genereret beskrivelse">
            <a:extLst>
              <a:ext uri="{FF2B5EF4-FFF2-40B4-BE49-F238E27FC236}">
                <a16:creationId xmlns:a16="http://schemas.microsoft.com/office/drawing/2014/main" id="{A53984D0-8E03-9670-5D9E-07B7649E281A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6704" y="3542252"/>
            <a:ext cx="1476281" cy="1476281"/>
          </a:xfrm>
          <a:prstGeom prst="rect">
            <a:avLst/>
          </a:prstGeom>
        </p:spPr>
      </p:pic>
      <p:pic>
        <p:nvPicPr>
          <p:cNvPr id="16" name="Billede 15" descr="Et billede, der indeholder Grafik, grafisk design, skærmbillede, Farverigt&#10;&#10;Automatisk genereret beskrivelse">
            <a:extLst>
              <a:ext uri="{FF2B5EF4-FFF2-40B4-BE49-F238E27FC236}">
                <a16:creationId xmlns:a16="http://schemas.microsoft.com/office/drawing/2014/main" id="{89C97039-68A3-EF69-8734-E88680DB5982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812" y="4947617"/>
            <a:ext cx="1260927" cy="345554"/>
          </a:xfrm>
          <a:prstGeom prst="rect">
            <a:avLst/>
          </a:prstGeom>
        </p:spPr>
      </p:pic>
      <p:pic>
        <p:nvPicPr>
          <p:cNvPr id="17" name="Billede 16" descr="Et billede, der indeholder tekst, Font/skrifttype, Grafik, grafisk design&#10;&#10;Automatisk genereret beskrivelse">
            <a:extLst>
              <a:ext uri="{FF2B5EF4-FFF2-40B4-BE49-F238E27FC236}">
                <a16:creationId xmlns:a16="http://schemas.microsoft.com/office/drawing/2014/main" id="{D780034E-F8AC-80B3-1D87-81E1179FF2F9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83068" y="4821015"/>
            <a:ext cx="774596" cy="515112"/>
          </a:xfrm>
          <a:prstGeom prst="rect">
            <a:avLst/>
          </a:prstGeom>
        </p:spPr>
      </p:pic>
      <p:pic>
        <p:nvPicPr>
          <p:cNvPr id="18" name="Billede 17" descr="Et billede, der indeholder skærmbillede, Font/skrifttype, Grafik, grafisk design&#10;&#10;Automatisk genereret beskrivelse">
            <a:extLst>
              <a:ext uri="{FF2B5EF4-FFF2-40B4-BE49-F238E27FC236}">
                <a16:creationId xmlns:a16="http://schemas.microsoft.com/office/drawing/2014/main" id="{31ED167F-D2AA-AD63-1A16-F049F32141C4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524" y="5629093"/>
            <a:ext cx="1202486" cy="256268"/>
          </a:xfrm>
          <a:prstGeom prst="rect">
            <a:avLst/>
          </a:prstGeom>
        </p:spPr>
      </p:pic>
      <p:pic>
        <p:nvPicPr>
          <p:cNvPr id="19" name="Billede 18" descr="Et billede, der indeholder tekst, Font/skrifttype, logo, Grafik&#10;&#10;Automatisk genereret beskrivelse">
            <a:extLst>
              <a:ext uri="{FF2B5EF4-FFF2-40B4-BE49-F238E27FC236}">
                <a16:creationId xmlns:a16="http://schemas.microsoft.com/office/drawing/2014/main" id="{6AAFB976-5537-CF58-701A-2671EA026E69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296" y="6113928"/>
            <a:ext cx="1866394" cy="365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8212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50489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395" imgH="396" progId="TCLayout.ActiveDocument.1">
                  <p:embed/>
                </p:oleObj>
              </mc:Choice>
              <mc:Fallback>
                <p:oleObj name="think-cell Slide" r:id="rId9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F059C31-193E-4847-8E6F-A1A03B3CA043}" type="datetime1">
              <a:rPr lang="da-DK" smtClean="0"/>
              <a:t>14-06-2024</a:t>
            </a:fld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AC8990-AC53-4959-B57E-28DC14E01F0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22105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0" r:id="rId2"/>
    <p:sldLayoutId id="2147483653" r:id="rId3"/>
    <p:sldLayoutId id="2147483654" r:id="rId4"/>
    <p:sldLayoutId id="2147483655" r:id="rId5"/>
    <p:sldLayoutId id="2147483656" r:id="rId6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85765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el 6">
            <a:extLst>
              <a:ext uri="{FF2B5EF4-FFF2-40B4-BE49-F238E27FC236}">
                <a16:creationId xmlns:a16="http://schemas.microsoft.com/office/drawing/2014/main" id="{62F3F7AF-76C0-497A-B5E4-FDCD1D90FF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8" name="Pladsholder til tekst 7">
            <a:extLst>
              <a:ext uri="{FF2B5EF4-FFF2-40B4-BE49-F238E27FC236}">
                <a16:creationId xmlns:a16="http://schemas.microsoft.com/office/drawing/2014/main" id="{F1CBBDE5-3243-40A5-B14A-52962C25D16D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782548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92966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7530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89636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127604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A0558F238722E4A87858A261B385A9A" ma:contentTypeVersion="14" ma:contentTypeDescription="Opret et nyt dokument." ma:contentTypeScope="" ma:versionID="df7b1b69bf9c601438507dcd04a0f6d1">
  <xsd:schema xmlns:xsd="http://www.w3.org/2001/XMLSchema" xmlns:xs="http://www.w3.org/2001/XMLSchema" xmlns:p="http://schemas.microsoft.com/office/2006/metadata/properties" xmlns:ns3="5d1b4fd4-c07b-4c84-89e3-bdde29d7bf6f" xmlns:ns4="93de73cf-449c-470b-a45d-fc882adeee99" targetNamespace="http://schemas.microsoft.com/office/2006/metadata/properties" ma:root="true" ma:fieldsID="4e9668868dad1c2b245c3eb8092a9d7b" ns3:_="" ns4:_="">
    <xsd:import namespace="5d1b4fd4-c07b-4c84-89e3-bdde29d7bf6f"/>
    <xsd:import namespace="93de73cf-449c-470b-a45d-fc882adeee9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  <xsd:element ref="ns4:MediaServiceGenerationTime" minOccurs="0"/>
                <xsd:element ref="ns4:MediaServiceEventHashCode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1b4fd4-c07b-4c84-89e3-bdde29d7bf6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t med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lt med detaljer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værdi for deling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3de73cf-449c-470b-a45d-fc882adeee9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333CCE0-AC46-4150-8721-84CBDF21A89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982BA2F-2E1A-4836-87EE-BC7FF84292C7}">
  <ds:schemaRefs>
    <ds:schemaRef ds:uri="http://schemas.microsoft.com/office/2006/documentManagement/types"/>
    <ds:schemaRef ds:uri="http://purl.org/dc/terms/"/>
    <ds:schemaRef ds:uri="93de73cf-449c-470b-a45d-fc882adeee99"/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5d1b4fd4-c07b-4c84-89e3-bdde29d7bf6f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8642145C-6F1E-4B0E-91A7-EA67BD9A9D9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1b4fd4-c07b-4c84-89e3-bdde29d7bf6f"/>
    <ds:schemaRef ds:uri="93de73cf-449c-470b-a45d-fc882adeee9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30</TotalTime>
  <Words>1</Words>
  <Application>Microsoft Office PowerPoint</Application>
  <PresentationFormat>Widescreen</PresentationFormat>
  <Paragraphs>1</Paragraphs>
  <Slides>5</Slides>
  <Notes>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5</vt:i4>
      </vt:variant>
    </vt:vector>
  </HeadingPairs>
  <TitlesOfParts>
    <vt:vector size="10" baseType="lpstr">
      <vt:lpstr>Arial</vt:lpstr>
      <vt:lpstr>Calibri</vt:lpstr>
      <vt:lpstr>Museo Sans 500</vt:lpstr>
      <vt:lpstr>Office Theme</vt:lpstr>
      <vt:lpstr>think-cell Slide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Company>Aalborg Universit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ational Conference on Smart Energy Systems and 4th Generation District Heating Copenhagen, 25-26 August 2015</dc:title>
  <dc:creator>Nina Ferdinand</dc:creator>
  <cp:lastModifiedBy>Mette Reiche Sørensen</cp:lastModifiedBy>
  <cp:revision>31</cp:revision>
  <dcterms:created xsi:type="dcterms:W3CDTF">2015-08-05T13:20:26Z</dcterms:created>
  <dcterms:modified xsi:type="dcterms:W3CDTF">2024-06-14T08:01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A0558F238722E4A87858A261B385A9A</vt:lpwstr>
  </property>
</Properties>
</file>